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7"/>
  </p:notesMasterIdLst>
  <p:handoutMasterIdLst>
    <p:handoutMasterId r:id="rId8"/>
  </p:handoutMasterIdLst>
  <p:sldIdLst>
    <p:sldId id="616" r:id="rId2"/>
    <p:sldId id="261" r:id="rId3"/>
    <p:sldId id="617" r:id="rId4"/>
    <p:sldId id="618" r:id="rId5"/>
    <p:sldId id="513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3F8A"/>
    <a:srgbClr val="FFEBE8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FD0F851-EC5A-4D38-B0AD-8093EC10F338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Tmavý styl 2 – zvýraznění 1/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C2FFA5D-87B4-456A-9821-1D502468CF0F}" styleName="Styl s motivem 1 – zvýraznění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Tmavý styl 1 – zvýraznění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Střední styl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Střední styl 3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Střední styl 3 – zvýraznění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Střední styl 3 – zvýraznění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202B0CA-FC54-4496-8BCA-5EF66A818D29}" styleName="Tmavý styl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6176" autoAdjust="0"/>
    <p:restoredTop sz="94966"/>
  </p:normalViewPr>
  <p:slideViewPr>
    <p:cSldViewPr snapToGrid="0">
      <p:cViewPr varScale="1">
        <p:scale>
          <a:sx n="115" d="100"/>
          <a:sy n="115" d="100"/>
        </p:scale>
        <p:origin x="228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>
      <p:cViewPr varScale="1">
        <p:scale>
          <a:sx n="114" d="100"/>
          <a:sy n="114" d="100"/>
        </p:scale>
        <p:origin x="3056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866020F-E29F-2641-BCD1-9B84AA80F18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D0F33A-3AFC-7643-88D2-12F229EDA24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F5B2C9-8C29-4249-99E8-6EBA07387F59}" type="datetimeFigureOut">
              <a:rPr lang="cs-CZ" smtClean="0"/>
              <a:t>30.09.2022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009D76-304E-7742-A2BF-51866DCD9AA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CD67AB-AF7B-D742-8167-69B2938B9B1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386011-2B26-9342-946E-1E3F13E95F62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18762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42D11F-CC8B-4C52-96AF-37A3A693097C}" type="datetimeFigureOut">
              <a:rPr lang="cs-CZ" smtClean="0"/>
              <a:t>30.09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98C393-82CA-48F9-AF7F-884CA9A5461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024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lide">
    <p:bg>
      <p:bgPr>
        <a:solidFill>
          <a:srgbClr val="013F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0512DB-0B9D-6C4C-B068-B92CB30A25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0931" y="6023199"/>
            <a:ext cx="2595743" cy="276999"/>
          </a:xfrm>
        </p:spPr>
        <p:txBody>
          <a:bodyPr wrap="square" lIns="0" tIns="0" rIns="0" bIns="0" anchor="b">
            <a:spAutoFit/>
          </a:bodyPr>
          <a:lstStyle>
            <a:lvl1pPr marL="0" indent="0" algn="r"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DD /MM / RR</a:t>
            </a:r>
            <a:endParaRPr lang="cs-CZ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448D8-B859-DA45-BBB1-BFB30B25F2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6" y="6001942"/>
            <a:ext cx="4262438" cy="319511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ct val="86000"/>
              </a:lnSpc>
              <a:spcBef>
                <a:spcPts val="0"/>
              </a:spcBef>
              <a:buFontTx/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Autor 1#, Autor 2#…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321A9DE-6E34-864B-9554-63A086D8C5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6" y="4965108"/>
            <a:ext cx="10801349" cy="951213"/>
          </a:xfrm>
          <a:prstGeom prst="rect">
            <a:avLst/>
          </a:prstGeom>
        </p:spPr>
        <p:txBody>
          <a:bodyPr vert="horz" lIns="0" tIns="0" rIns="0" bIns="72000" rtlCol="0" anchor="b" anchorCtr="0">
            <a:spAutoFit/>
          </a:bodyPr>
          <a:lstStyle>
            <a:lvl1pPr algn="l">
              <a:lnSpc>
                <a:spcPct val="86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Název Prezentac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8E66DC-541F-A743-B40E-CF553CA3F4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455" y="0"/>
            <a:ext cx="4718552" cy="19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430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566" userDrawn="1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68800" y="6551452"/>
            <a:ext cx="2743200" cy="153888"/>
          </a:xfrm>
        </p:spPr>
        <p:txBody>
          <a:bodyPr rIns="0" anchor="ctr"/>
          <a:lstStyle>
            <a:lvl1pPr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16C0488-217C-405E-84A7-2C6B75A710C1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Content Placeholder 26"/>
          <p:cNvSpPr>
            <a:spLocks noGrp="1"/>
          </p:cNvSpPr>
          <p:nvPr>
            <p:ph sz="quarter" idx="15"/>
          </p:nvPr>
        </p:nvSpPr>
        <p:spPr>
          <a:xfrm>
            <a:off x="480000" y="1304765"/>
            <a:ext cx="11232000" cy="4959965"/>
          </a:xfrm>
        </p:spPr>
        <p:txBody>
          <a:bodyPr lIns="0" tIns="0" rIns="0" bIns="0">
            <a:normAutofit/>
          </a:bodyPr>
          <a:lstStyle>
            <a:lvl1pPr>
              <a:defRPr sz="1700" baseline="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80000" y="260648"/>
            <a:ext cx="11232000" cy="792088"/>
          </a:xfrm>
        </p:spPr>
        <p:txBody>
          <a:bodyPr lIns="0" tIns="0" rIns="0" bIns="0" anchor="b">
            <a:noAutofit/>
          </a:bodyPr>
          <a:lstStyle>
            <a:lvl1pPr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0000" y="6489340"/>
            <a:ext cx="11232000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480002" y="6525344"/>
            <a:ext cx="8256292" cy="206104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 err="1"/>
              <a:t>Zdro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05258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Přímá spojovací čára 3"/>
          <p:cNvCxnSpPr/>
          <p:nvPr userDrawn="1"/>
        </p:nvCxnSpPr>
        <p:spPr>
          <a:xfrm>
            <a:off x="624418" y="1412875"/>
            <a:ext cx="11135783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5813426"/>
            <a:ext cx="2783417" cy="104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850106"/>
          </a:xfrm>
        </p:spPr>
        <p:txBody>
          <a:bodyPr>
            <a:noAutofit/>
          </a:bodyPr>
          <a:lstStyle>
            <a:lvl1pPr>
              <a:defRPr sz="4000" b="1" i="0" cap="small" baseline="0"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09600" y="1916833"/>
            <a:ext cx="10972800" cy="4209331"/>
          </a:xfrm>
        </p:spPr>
        <p:txBody>
          <a:bodyPr/>
          <a:lstStyle>
            <a:lvl1pPr>
              <a:defRPr sz="2700" baseline="0"/>
            </a:lvl1pPr>
            <a:lvl2pPr>
              <a:defRPr sz="2400"/>
            </a:lvl2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6" name="Zástupný symbol pro zápatí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977D2A-0E14-441E-AE90-A6C29EAFD0AA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985212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lide, podnadpis ">
    <p:bg>
      <p:bgPr>
        <a:solidFill>
          <a:srgbClr val="013F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0512DB-0B9D-6C4C-B068-B92CB30A25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0931" y="6023199"/>
            <a:ext cx="2595743" cy="276999"/>
          </a:xfrm>
        </p:spPr>
        <p:txBody>
          <a:bodyPr wrap="square" lIns="0" tIns="0" rIns="0" bIns="0" anchor="b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DD /MM / RR</a:t>
            </a:r>
            <a:endParaRPr lang="cs-CZ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448D8-B859-DA45-BBB1-BFB30B25F2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6" y="6001942"/>
            <a:ext cx="4262438" cy="319511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ct val="86000"/>
              </a:lnSpc>
              <a:spcBef>
                <a:spcPts val="0"/>
              </a:spcBef>
              <a:buFontTx/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Autor 1#, Autor 2#…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62E691C-32FC-7049-9328-14493B6308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6" y="5282243"/>
            <a:ext cx="10801350" cy="479170"/>
          </a:xfrm>
        </p:spPr>
        <p:txBody>
          <a:bodyPr lIns="0" tIns="0" rIns="0" bIns="0" anchor="b">
            <a:spAutoFit/>
          </a:bodyPr>
          <a:lstStyle>
            <a:lvl1pPr marL="0" indent="0">
              <a:lnSpc>
                <a:spcPct val="86000"/>
              </a:lnSpc>
              <a:spcBef>
                <a:spcPts val="0"/>
              </a:spcBef>
              <a:buFontTx/>
              <a:buNone/>
              <a:defRPr sz="3600" b="1">
                <a:latin typeface="+mj-lt"/>
              </a:defRPr>
            </a:lvl1pPr>
          </a:lstStyle>
          <a:p>
            <a:pPr lvl="0"/>
            <a:r>
              <a:rPr lang="en-US" dirty="0" err="1"/>
              <a:t>Podnadpis</a:t>
            </a:r>
            <a:r>
              <a:rPr lang="en-US" dirty="0"/>
              <a:t> </a:t>
            </a:r>
            <a:r>
              <a:rPr lang="en-US" dirty="0" err="1"/>
              <a:t>Prezentace</a:t>
            </a:r>
            <a:endParaRPr lang="cs-CZ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321A9DE-6E34-864B-9554-63A086D8C5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4331030"/>
            <a:ext cx="10801349" cy="951213"/>
          </a:xfrm>
          <a:prstGeom prst="rect">
            <a:avLst/>
          </a:prstGeom>
        </p:spPr>
        <p:txBody>
          <a:bodyPr vert="horz" lIns="0" tIns="0" rIns="0" bIns="72000" rtlCol="0" anchor="b" anchorCtr="0">
            <a:spAutoFit/>
          </a:bodyPr>
          <a:lstStyle>
            <a:lvl1pPr algn="l">
              <a:lnSpc>
                <a:spcPct val="86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Název Prezentac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5701475-A06E-8A49-A815-BBC855062D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455" y="0"/>
            <a:ext cx="4718552" cy="19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4219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566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ý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5325" y="250925"/>
            <a:ext cx="8101013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4B0A68E-7420-624F-8517-8FCD5854A4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7" y="5555187"/>
            <a:ext cx="10801348" cy="682101"/>
          </a:xfrm>
          <a:prstGeom prst="rect">
            <a:avLst/>
          </a:prstGeom>
        </p:spPr>
        <p:txBody>
          <a:bodyPr vert="horz" wrap="square" lIns="0" tIns="0" rIns="0" bIns="72000" rtlCol="0" anchor="b" anchorCtr="0">
            <a:spAutoFit/>
          </a:bodyPr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1. Název Oddílu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1E50201-F6BA-854F-A9CC-F892BC6D9505}"/>
              </a:ext>
            </a:extLst>
          </p:cNvPr>
          <p:cNvCxnSpPr>
            <a:cxnSpLocks/>
          </p:cNvCxnSpPr>
          <p:nvPr userDrawn="1"/>
        </p:nvCxnSpPr>
        <p:spPr>
          <a:xfrm>
            <a:off x="695325" y="6237288"/>
            <a:ext cx="10801350" cy="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79596BAA-879B-7A4E-8332-188FBA65E0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876" y="209131"/>
            <a:ext cx="2273371" cy="960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852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ý slide s podnadpisem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5325" y="250925"/>
            <a:ext cx="8101013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4B0A68E-7420-624F-8517-8FCD5854A4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272" y="5022617"/>
            <a:ext cx="10788403" cy="682101"/>
          </a:xfrm>
          <a:prstGeom prst="rect">
            <a:avLst/>
          </a:prstGeom>
        </p:spPr>
        <p:txBody>
          <a:bodyPr vert="horz" wrap="square" lIns="0" tIns="0" rIns="0" bIns="72000" rtlCol="0" anchor="b" anchorCtr="0">
            <a:spAutoFit/>
          </a:bodyPr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1. Název Oddílu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1E50201-F6BA-854F-A9CC-F892BC6D9505}"/>
              </a:ext>
            </a:extLst>
          </p:cNvPr>
          <p:cNvCxnSpPr>
            <a:cxnSpLocks/>
          </p:cNvCxnSpPr>
          <p:nvPr userDrawn="1"/>
        </p:nvCxnSpPr>
        <p:spPr>
          <a:xfrm>
            <a:off x="695325" y="6237288"/>
            <a:ext cx="10801350" cy="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3A137D-F602-8A45-8ABE-2C12FDC35A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2018" y="5704719"/>
            <a:ext cx="10788402" cy="532569"/>
          </a:xfrm>
        </p:spPr>
        <p:txBody>
          <a:bodyPr wrap="square" lIns="0" tIns="0" rIns="0" bIns="108000" anchor="b">
            <a:spAutoFit/>
          </a:bodyPr>
          <a:lstStyle>
            <a:lvl1pPr marL="0" indent="0">
              <a:lnSpc>
                <a:spcPct val="86000"/>
              </a:lnSpc>
              <a:spcBef>
                <a:spcPts val="0"/>
              </a:spcBef>
              <a:buFontTx/>
              <a:buNone/>
              <a:defRPr sz="32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 err="1"/>
              <a:t>Podnadpis</a:t>
            </a:r>
            <a:r>
              <a:rPr lang="en-US" dirty="0"/>
              <a:t> </a:t>
            </a:r>
            <a:r>
              <a:rPr lang="en-US" dirty="0" err="1"/>
              <a:t>oddílu</a:t>
            </a:r>
            <a:endParaRPr lang="cs-CZ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126BA2B-D885-484C-B0DA-FC3CE77075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876" y="209131"/>
            <a:ext cx="2273371" cy="960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729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1 sloup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cap="all" spc="100" baseline="0">
                <a:solidFill>
                  <a:schemeClr val="accent5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cap="all" spc="100" baseline="0">
                <a:solidFill>
                  <a:schemeClr val="accent5"/>
                </a:solidFill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3868C98-4BBF-AB46-A422-5FAF2D88D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1066433"/>
            <a:ext cx="8101013" cy="454227"/>
          </a:xfrm>
        </p:spPr>
        <p:txBody>
          <a:bodyPr/>
          <a:lstStyle/>
          <a:p>
            <a:r>
              <a:rPr lang="en-US" dirty="0" err="1"/>
              <a:t>Nadpis</a:t>
            </a:r>
            <a:r>
              <a:rPr lang="en-US" dirty="0"/>
              <a:t> </a:t>
            </a:r>
            <a:r>
              <a:rPr lang="en-US" dirty="0" err="1"/>
              <a:t>Slidu</a:t>
            </a:r>
            <a:endParaRPr lang="cs-CZ" dirty="0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E954EA9B-ECD0-3844-9E17-79A6A48B950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95325" y="1844675"/>
            <a:ext cx="10801350" cy="4392613"/>
          </a:xfrm>
        </p:spPr>
        <p:txBody>
          <a:bodyPr rIns="360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Obsah </a:t>
            </a:r>
            <a:r>
              <a:rPr lang="cs-CZ" dirty="0" err="1"/>
              <a:t>Slidu</a:t>
            </a:r>
            <a:endParaRPr lang="cs-CZ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BB7B1A-9546-184A-8488-37082B143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2016" y="6485128"/>
            <a:ext cx="10801350" cy="15234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 err="1"/>
              <a:t>Možná</a:t>
            </a:r>
            <a:r>
              <a:rPr lang="en-US" dirty="0"/>
              <a:t> </a:t>
            </a:r>
            <a:r>
              <a:rPr lang="en-US" dirty="0" err="1"/>
              <a:t>Poznámka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1D28CAC-24AD-7E4D-92F6-18A3198278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111" y="520097"/>
            <a:ext cx="2152255" cy="60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734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46" userDrawn="1">
          <p15:clr>
            <a:srgbClr val="5ACBF0"/>
          </p15:clr>
        </p15:guide>
        <p15:guide id="2" pos="3840" userDrawn="1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2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74B40-CE18-0342-A9FD-AB769A4CE3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/>
              <a:t>Nadpis</a:t>
            </a:r>
            <a:r>
              <a:rPr lang="en-US" dirty="0"/>
              <a:t> </a:t>
            </a:r>
            <a:r>
              <a:rPr lang="en-US" dirty="0" err="1"/>
              <a:t>Slidu</a:t>
            </a:r>
            <a:endParaRPr lang="cs-CZ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1E6F7E-84A2-1346-B9BD-5585FF9C1E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95325" y="250925"/>
            <a:ext cx="8101013" cy="153888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F0CD94-ECC5-7342-8A22-BE7B7CA111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B930AED-9751-0E46-8A7A-866D20F84C8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5325" y="1844675"/>
            <a:ext cx="5292725" cy="4392613"/>
          </a:xfrm>
        </p:spPr>
        <p:txBody>
          <a:bodyPr rIns="180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1. Sloupec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B34C6E2-4890-634A-AF2B-C542FC6FB8B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3950" y="1844675"/>
            <a:ext cx="5292725" cy="4392613"/>
          </a:xfrm>
        </p:spPr>
        <p:txBody>
          <a:bodyPr rIns="180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2. Sloupec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427A139-B025-4749-9464-1002DEF22F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2016" y="6485128"/>
            <a:ext cx="10801350" cy="15234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 err="1"/>
              <a:t>Možná</a:t>
            </a:r>
            <a:r>
              <a:rPr lang="en-US" dirty="0"/>
              <a:t> </a:t>
            </a:r>
            <a:r>
              <a:rPr lang="en-US" dirty="0" err="1"/>
              <a:t>Poznámka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B253EF4-4BF7-CF41-81BE-087B90C7FA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111" y="520097"/>
            <a:ext cx="2152255" cy="60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174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772" userDrawn="1">
          <p15:clr>
            <a:srgbClr val="5ACBF0"/>
          </p15:clr>
        </p15:guide>
        <p15:guide id="2" pos="3908" userDrawn="1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3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74B40-CE18-0342-A9FD-AB769A4CE3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/>
              <a:t>Nadpis</a:t>
            </a:r>
            <a:r>
              <a:rPr lang="en-US" dirty="0"/>
              <a:t> </a:t>
            </a:r>
            <a:r>
              <a:rPr lang="en-US" dirty="0" err="1"/>
              <a:t>Slidu</a:t>
            </a:r>
            <a:endParaRPr lang="cs-CZ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1E6F7E-84A2-1346-B9BD-5585FF9C1E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95325" y="250925"/>
            <a:ext cx="8101013" cy="153888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F0CD94-ECC5-7342-8A22-BE7B7CA111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B930AED-9751-0E46-8A7A-866D20F84C8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5326" y="1844675"/>
            <a:ext cx="3455987" cy="4392613"/>
          </a:xfrm>
        </p:spPr>
        <p:txBody>
          <a:bodyPr rIns="108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1. Sloupec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B34C6E2-4890-634A-AF2B-C542FC6FB8B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68801" y="1844675"/>
            <a:ext cx="3455987" cy="4392613"/>
          </a:xfrm>
        </p:spPr>
        <p:txBody>
          <a:bodyPr rIns="108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2. Sloupec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B3AFEAF7-96B7-D644-BDFB-DE83DB4F69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7552" y="1844675"/>
            <a:ext cx="3455814" cy="4392613"/>
          </a:xfrm>
        </p:spPr>
        <p:txBody>
          <a:bodyPr rIns="108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3 Sloupec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CB85E8B-0407-7B40-9C23-F74A81A147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2016" y="6485128"/>
            <a:ext cx="10801350" cy="15234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 err="1"/>
              <a:t>Možná</a:t>
            </a:r>
            <a:r>
              <a:rPr lang="en-US" dirty="0"/>
              <a:t> </a:t>
            </a:r>
            <a:r>
              <a:rPr lang="en-US" dirty="0" err="1"/>
              <a:t>Poznámka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17279BE-2E82-324D-B65B-EA5A7E5E20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111" y="520097"/>
            <a:ext cx="2152255" cy="60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615" userDrawn="1">
          <p15:clr>
            <a:srgbClr val="5ACBF0"/>
          </p15:clr>
        </p15:guide>
        <p15:guide id="2" pos="2751" userDrawn="1">
          <p15:clr>
            <a:srgbClr val="5ACBF0"/>
          </p15:clr>
        </p15:guide>
        <p15:guide id="3" pos="5065" userDrawn="1">
          <p15:clr>
            <a:srgbClr val="5ACBF0"/>
          </p15:clr>
        </p15:guide>
        <p15:guide id="4" pos="4929" userDrawn="1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CC2A4C-B84B-7445-8392-702380FCC7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25AD4FF5-FA2B-2B4E-BEE4-A5F02DE94C2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5C26993-69E9-1749-8AEB-352582C212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111" y="520097"/>
            <a:ext cx="2152255" cy="60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712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46" userDrawn="1">
          <p15:clr>
            <a:srgbClr val="5ACBF0"/>
          </p15:clr>
        </p15:guide>
        <p15:guide id="2" pos="3840" userDrawn="1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vě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5325" y="250925"/>
            <a:ext cx="8101013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126BA2B-D885-484C-B0DA-FC3CE77075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876" y="209131"/>
            <a:ext cx="2273371" cy="960983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BB47B3-91E9-9241-86F0-90462BDE3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2018" y="1844675"/>
            <a:ext cx="10788402" cy="4392613"/>
          </a:xfrm>
        </p:spPr>
        <p:txBody>
          <a:bodyPr wrap="square" lIns="0" tIns="0" rIns="0" bIns="0" anchor="ctr"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FontTx/>
              <a:buNone/>
              <a:defRPr sz="32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 err="1"/>
              <a:t>Závěr</a:t>
            </a:r>
            <a:r>
              <a:rPr lang="en-US" dirty="0"/>
              <a:t> </a:t>
            </a:r>
            <a:r>
              <a:rPr lang="en-US" dirty="0" err="1"/>
              <a:t>Prezentac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22376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4BB7600-42FD-4D9E-BC8B-B904D0E355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5472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131" imgH="131" progId="TCLayout.ActiveDocument.1">
                  <p:embed/>
                </p:oleObj>
              </mc:Choice>
              <mc:Fallback>
                <p:oleObj name="think-cell Slide" r:id="rId14" imgW="131" imgH="1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4BB7600-42FD-4D9E-BC8B-B904D0E355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5325" y="1066433"/>
            <a:ext cx="8101013" cy="454227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en-US" dirty="0" err="1"/>
              <a:t>Název</a:t>
            </a:r>
            <a:r>
              <a:rPr lang="en-US" dirty="0"/>
              <a:t> </a:t>
            </a:r>
            <a:r>
              <a:rPr lang="en-US" dirty="0" err="1"/>
              <a:t>Slidu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5325" y="1844675"/>
            <a:ext cx="10801350" cy="43926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5325" y="250925"/>
            <a:ext cx="8101013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00" b="1" cap="all" spc="10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cs-CZ" dirty="0" err="1"/>
              <a:t>FooteR</a:t>
            </a:r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1" y="250925"/>
            <a:ext cx="695326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000" b="1" cap="all" spc="10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FADBE4B-2764-4749-845E-9D6EF8CF1D33}"/>
              </a:ext>
            </a:extLst>
          </p:cNvPr>
          <p:cNvSpPr txBox="1"/>
          <p:nvPr userDrawn="1"/>
        </p:nvSpPr>
        <p:spPr>
          <a:xfrm>
            <a:off x="6966857" y="82731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15538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5" r:id="rId3"/>
    <p:sldLayoutId id="2147483688" r:id="rId4"/>
    <p:sldLayoutId id="2147483674" r:id="rId5"/>
    <p:sldLayoutId id="2147483685" r:id="rId6"/>
    <p:sldLayoutId id="2147483689" r:id="rId7"/>
    <p:sldLayoutId id="2147483679" r:id="rId8"/>
    <p:sldLayoutId id="2147483690" r:id="rId9"/>
    <p:sldLayoutId id="2147483705" r:id="rId10"/>
    <p:sldLayoutId id="2147483706" r:id="rId11"/>
  </p:sldLayoutIdLst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i="0" kern="1200" spc="-40" baseline="0">
          <a:solidFill>
            <a:schemeClr val="accent6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438" userDrawn="1">
          <p15:clr>
            <a:srgbClr val="C35EA4"/>
          </p15:clr>
        </p15:guide>
        <p15:guide id="10" pos="7242" userDrawn="1">
          <p15:clr>
            <a:srgbClr val="C35EA4"/>
          </p15:clr>
        </p15:guide>
        <p15:guide id="17" orient="horz" pos="164" userDrawn="1">
          <p15:clr>
            <a:srgbClr val="A4A3A4"/>
          </p15:clr>
        </p15:guide>
        <p15:guide id="18" orient="horz" pos="232" userDrawn="1">
          <p15:clr>
            <a:srgbClr val="A4A3A4"/>
          </p15:clr>
        </p15:guide>
        <p15:guide id="19" orient="horz" pos="4156" userDrawn="1">
          <p15:clr>
            <a:srgbClr val="A4A3A4"/>
          </p15:clr>
        </p15:guide>
        <p15:guide id="20" orient="horz" pos="4088" userDrawn="1">
          <p15:clr>
            <a:srgbClr val="A4A3A4"/>
          </p15:clr>
        </p15:guide>
        <p15:guide id="24" orient="horz" pos="3929" userDrawn="1">
          <p15:clr>
            <a:srgbClr val="C35EA4"/>
          </p15:clr>
        </p15:guide>
        <p15:guide id="25" orient="horz" pos="1162" userDrawn="1">
          <p15:clr>
            <a:srgbClr val="C35EA4"/>
          </p15:clr>
        </p15:guide>
        <p15:guide id="29" orient="horz" pos="89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text 8">
            <a:extLst>
              <a:ext uri="{FF2B5EF4-FFF2-40B4-BE49-F238E27FC236}">
                <a16:creationId xmlns:a16="http://schemas.microsoft.com/office/drawing/2014/main" id="{6DA66CCA-539B-4156-979F-564EB09032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Tomáš Doležal</a:t>
            </a:r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C9387FB2-1D46-4FCF-99B7-8070C894C2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136207"/>
            <a:ext cx="10801349" cy="1240780"/>
          </a:xfrm>
        </p:spPr>
        <p:txBody>
          <a:bodyPr/>
          <a:lstStyle/>
          <a:p>
            <a:r>
              <a:rPr lang="cs-CZ" sz="4400" dirty="0"/>
              <a:t>Ekonomické dopady nízké proočkovanosti proti chřipce v ČR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661F268F-9F12-4F42-AFC3-745A9561EC1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250825"/>
            <a:ext cx="695325" cy="153988"/>
          </a:xfrm>
        </p:spPr>
        <p:txBody>
          <a:bodyPr/>
          <a:lstStyle/>
          <a:p>
            <a:fld id="{80747326-1927-48C0-BFA7-B0AFE1C889E4}" type="slidenum">
              <a:rPr lang="cs-CZ" smtClean="0"/>
              <a:pPr/>
              <a:t>1</a:t>
            </a:fld>
            <a:endParaRPr lang="cs-CZ" dirty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A536AB0-9351-9284-35C4-258A12B95D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989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991544" y="161067"/>
            <a:ext cx="8229600" cy="850106"/>
          </a:xfrm>
        </p:spPr>
        <p:txBody>
          <a:bodyPr/>
          <a:lstStyle/>
          <a:p>
            <a:r>
              <a:rPr lang="cs-CZ" sz="3600" dirty="0" err="1"/>
              <a:t>Proočkovanost</a:t>
            </a:r>
            <a:r>
              <a:rPr lang="cs-CZ" sz="3600" dirty="0"/>
              <a:t> u seniorů/rizikových osob</a:t>
            </a:r>
          </a:p>
        </p:txBody>
      </p:sp>
      <p:pic>
        <p:nvPicPr>
          <p:cNvPr id="4" name="Obrázek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391" y="1376909"/>
            <a:ext cx="4464496" cy="2376264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5" name="Tabulk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0308485"/>
              </p:ext>
            </p:extLst>
          </p:nvPr>
        </p:nvGraphicFramePr>
        <p:xfrm>
          <a:off x="5283352" y="3638897"/>
          <a:ext cx="6320384" cy="138747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390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81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340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791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9024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Věkové skupiny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 dirty="0">
                          <a:effectLst/>
                        </a:rPr>
                        <a:t>Populace</a:t>
                      </a:r>
                      <a:endParaRPr lang="cs-CZ" sz="14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Podíl osob s rizikovým faktorem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Populace v riziku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559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3-19 let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1 751 057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3,7%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64 205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559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20-49 let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4 479 853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20,0%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 dirty="0">
                          <a:effectLst/>
                        </a:rPr>
                        <a:t>895 971</a:t>
                      </a:r>
                      <a:endParaRPr lang="cs-CZ" sz="14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59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50-64 let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2 059 859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58,0%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1 194 718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4872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65+ let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1 932 412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100,0%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 dirty="0">
                          <a:effectLst/>
                        </a:rPr>
                        <a:t>1 932 412</a:t>
                      </a:r>
                      <a:endParaRPr lang="cs-CZ" sz="1400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559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Celkem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10 223 181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-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effectLst/>
                        </a:rPr>
                        <a:t>4 087 306</a:t>
                      </a:r>
                      <a:endParaRPr lang="cs-CZ" sz="1400" b="1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4415690"/>
              </p:ext>
            </p:extLst>
          </p:nvPr>
        </p:nvGraphicFramePr>
        <p:xfrm>
          <a:off x="5283352" y="5081238"/>
          <a:ext cx="6320384" cy="164251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135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070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070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926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5343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Věkové skupiny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Populace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Populace v riziku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Očkovaná populace v riziku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29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3-19 let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0,8%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498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29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20-49 let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3,6%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32 031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29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50-64 let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7,5%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89 903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295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65+ let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effectLst/>
                        </a:rPr>
                        <a:t>28,0%</a:t>
                      </a:r>
                      <a:endParaRPr lang="cs-CZ" sz="1400" b="1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541 269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5343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Celkem</a:t>
                      </a:r>
                      <a:endParaRPr lang="cs-CZ" sz="1400">
                        <a:effectLst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>
                          <a:effectLst/>
                        </a:rPr>
                        <a:t>(váženo velikostí populace)</a:t>
                      </a:r>
                      <a:endParaRPr lang="cs-CZ" sz="140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effectLst/>
                        </a:rPr>
                        <a:t>8,5%</a:t>
                      </a:r>
                      <a:endParaRPr lang="cs-CZ" sz="1400" b="1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effectLst/>
                        </a:rPr>
                        <a:t>16,2%</a:t>
                      </a:r>
                      <a:endParaRPr lang="cs-CZ" sz="1400" b="1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effectLst/>
                        </a:rPr>
                        <a:t>663 700</a:t>
                      </a:r>
                      <a:endParaRPr lang="cs-CZ" sz="1400" b="1" dirty="0">
                        <a:effectLst/>
                        <a:latin typeface="Calibri" charset="0"/>
                        <a:ea typeface="Calibri" charset="0"/>
                        <a:cs typeface="Times New Roman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" name="Šipka vlevo 6"/>
          <p:cNvSpPr/>
          <p:nvPr/>
        </p:nvSpPr>
        <p:spPr>
          <a:xfrm rot="19018452">
            <a:off x="3886666" y="2047941"/>
            <a:ext cx="978408" cy="268608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421681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7D365CE7-DBB2-447F-8C94-46B7E9B884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4A8582D5-7EDD-4913-80E3-BA680B7944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4977D2A-0E14-441E-AE90-A6C29EAFD0AA}" type="slidenum">
              <a:rPr lang="cs-CZ" smtClean="0"/>
              <a:pPr>
                <a:defRPr/>
              </a:pPr>
              <a:t>3</a:t>
            </a:fld>
            <a:endParaRPr lang="cs-CZ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E30DCFEA-0CBB-499C-94FB-3CB18E825F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662" y="164592"/>
            <a:ext cx="8067081" cy="5678424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72EA49AB-CCB8-4680-A08A-039B60188A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25563" y="2056932"/>
            <a:ext cx="4083259" cy="4550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0363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64417929-7DCC-456A-BC8A-4E77C9DC60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C4FED36F-E1E4-4790-A62D-4A55565B98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977D2A-0E14-441E-AE90-A6C29EAFD0AA}" type="slidenum">
              <a:rPr lang="cs-CZ" smtClean="0"/>
              <a:pPr>
                <a:defRPr/>
              </a:pPr>
              <a:t>4</a:t>
            </a:fld>
            <a:endParaRPr lang="cs-CZ"/>
          </a:p>
        </p:txBody>
      </p:sp>
      <p:sp>
        <p:nvSpPr>
          <p:cNvPr id="6" name="Nadpis 5">
            <a:extLst>
              <a:ext uri="{FF2B5EF4-FFF2-40B4-BE49-F238E27FC236}">
                <a16:creationId xmlns:a16="http://schemas.microsoft.com/office/drawing/2014/main" id="{E67413A7-73ED-4F27-90D1-CD1B8A24F0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7062" y="618640"/>
            <a:ext cx="8101013" cy="454227"/>
          </a:xfrm>
        </p:spPr>
        <p:txBody>
          <a:bodyPr/>
          <a:lstStyle/>
          <a:p>
            <a:r>
              <a:rPr lang="cs-CZ" dirty="0"/>
              <a:t>Ekonomický pohled</a:t>
            </a:r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09684EEC-E277-4184-9DD2-EF2B1DBB8D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0BD7A65-EE35-4F5F-A2BF-108051D7F2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8680" y="1321879"/>
            <a:ext cx="6863320" cy="1911658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9CA12858-8640-4D18-BEE2-D4C34A8BED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1367" y="3277335"/>
            <a:ext cx="7260633" cy="3274582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27396E2C-E784-4760-8BBA-8D489B18B1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016" y="1185155"/>
            <a:ext cx="3858769" cy="1979892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D03B6EA7-846C-406B-8A04-99E2483DF31B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329" y="3683002"/>
            <a:ext cx="4104456" cy="263809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59428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24B79EE-5FF2-9D45-9A87-33FD62046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9153" y="0"/>
            <a:ext cx="9247575" cy="1325563"/>
          </a:xfrm>
        </p:spPr>
        <p:txBody>
          <a:bodyPr/>
          <a:lstStyle/>
          <a:p>
            <a:r>
              <a:rPr lang="cs-CZ" dirty="0"/>
              <a:t>Velké dopady na pracovní produktivitu = pracovně aktivní populace</a:t>
            </a: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0305CFF6-3957-1C44-8503-AE1FF1E0D6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07455F23-9E2D-0646-81B7-C4B52B0D4F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80747326-1927-48C0-BFA7-B0AFE1C889E4}" type="slidenum">
              <a:rPr lang="cs-CZ" smtClean="0"/>
              <a:pPr/>
              <a:t>5</a:t>
            </a:fld>
            <a:endParaRPr lang="cs-CZ"/>
          </a:p>
        </p:txBody>
      </p:sp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FE8389C2-C904-0345-90AE-6C81696FBA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4644616"/>
              </p:ext>
            </p:extLst>
          </p:nvPr>
        </p:nvGraphicFramePr>
        <p:xfrm>
          <a:off x="3654609" y="1578557"/>
          <a:ext cx="7108621" cy="4958838"/>
        </p:xfrm>
        <a:graphic>
          <a:graphicData uri="http://schemas.openxmlformats.org/drawingml/2006/table">
            <a:tbl>
              <a:tblPr/>
              <a:tblGrid>
                <a:gridCol w="4346399">
                  <a:extLst>
                    <a:ext uri="{9D8B030D-6E8A-4147-A177-3AD203B41FA5}">
                      <a16:colId xmlns:a16="http://schemas.microsoft.com/office/drawing/2014/main" val="3057826035"/>
                    </a:ext>
                  </a:extLst>
                </a:gridCol>
                <a:gridCol w="2762222">
                  <a:extLst>
                    <a:ext uri="{9D8B030D-6E8A-4147-A177-3AD203B41FA5}">
                      <a16:colId xmlns:a16="http://schemas.microsoft.com/office/drawing/2014/main" val="3076997833"/>
                    </a:ext>
                  </a:extLst>
                </a:gridCol>
              </a:tblGrid>
              <a:tr h="163217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stupy do analýzy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90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90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7234244"/>
                  </a:ext>
                </a:extLst>
              </a:tr>
              <a:tr h="179511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4040492"/>
                  </a:ext>
                </a:extLst>
              </a:tr>
              <a:tr h="17951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obyvatel ČR ve věku 15-64 let (ČSÚ, r. 2017)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6 942 623   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BE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521232"/>
                  </a:ext>
                </a:extLst>
              </a:tr>
              <a:tr h="17951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uální proočkovanost (expert panel)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0%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BE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0955699"/>
                  </a:ext>
                </a:extLst>
              </a:tr>
              <a:tr h="32491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ůměrná mzda v ČR (ČSÚ, 2. čtvrtletí 2018)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31 851 Kč 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BE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97970"/>
                  </a:ext>
                </a:extLst>
              </a:tr>
              <a:tr h="17951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dnů pracovní neschopnosti na 1 epizodu chřipky (pouze pracovní dny, bez víkendu)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5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BE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2985283"/>
                  </a:ext>
                </a:extLst>
              </a:tr>
              <a:tr h="32491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a vakcíny proti chřipce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249,79 Kč 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BED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0147980"/>
                  </a:ext>
                </a:extLst>
              </a:tr>
              <a:tr h="179511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0008816"/>
                  </a:ext>
                </a:extLst>
              </a:tr>
              <a:tr h="179511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2863629"/>
                  </a:ext>
                </a:extLst>
              </a:tr>
              <a:tr h="17951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Výsledky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A3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A3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4483201"/>
                  </a:ext>
                </a:extLst>
              </a:tr>
              <a:tr h="179511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0883211"/>
                  </a:ext>
                </a:extLst>
              </a:tr>
              <a:tr h="17951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zabráněných případů chřipky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9 957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D1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671796"/>
                  </a:ext>
                </a:extLst>
              </a:tr>
              <a:tr h="17951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zabráněných dnů pracovní neschopnosti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1 566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D1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2738113"/>
                  </a:ext>
                </a:extLst>
              </a:tr>
              <a:tr h="179511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2628261"/>
                  </a:ext>
                </a:extLst>
              </a:tr>
              <a:tr h="17951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šlý produkt z důvodu onemocnění zaměstnance (celkem)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48 115 556 Kč 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D1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4843285"/>
                  </a:ext>
                </a:extLst>
              </a:tr>
              <a:tr h="17951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hrada mzdy zaměstnavatelem v době pracovních neschopností (celkem)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311 755 737 Kč 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D1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1758202"/>
                  </a:ext>
                </a:extLst>
              </a:tr>
              <a:tr h="324914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šlá mzda jednoho zaměstnance, který onemocní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5 662 Kč 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D1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0058224"/>
                  </a:ext>
                </a:extLst>
              </a:tr>
              <a:tr h="66784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1436745"/>
                  </a:ext>
                </a:extLst>
              </a:tr>
              <a:tr h="179511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klady na vakcínu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7 098 900 Kč </a:t>
                      </a:r>
                    </a:p>
                  </a:txBody>
                  <a:tcPr marL="8976" marR="8976" marT="89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D1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2492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36631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HETA Motiv">
  <a:themeElements>
    <a:clrScheme name="Custom 2">
      <a:dk1>
        <a:srgbClr val="000000"/>
      </a:dk1>
      <a:lt1>
        <a:srgbClr val="FFFFFF"/>
      </a:lt1>
      <a:dk2>
        <a:srgbClr val="003F8A"/>
      </a:dk2>
      <a:lt2>
        <a:srgbClr val="FFC928"/>
      </a:lt2>
      <a:accent1>
        <a:srgbClr val="6B4481"/>
      </a:accent1>
      <a:accent2>
        <a:srgbClr val="0097A7"/>
      </a:accent2>
      <a:accent3>
        <a:srgbClr val="C2185B"/>
      </a:accent3>
      <a:accent4>
        <a:srgbClr val="7CB341"/>
      </a:accent4>
      <a:accent5>
        <a:srgbClr val="AFB1B0"/>
      </a:accent5>
      <a:accent6>
        <a:srgbClr val="000000"/>
      </a:accent6>
      <a:hlink>
        <a:srgbClr val="003F8A"/>
      </a:hlink>
      <a:folHlink>
        <a:srgbClr val="D3A231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2306</TotalTime>
  <Words>269</Words>
  <Application>Microsoft Office PowerPoint</Application>
  <PresentationFormat>Širokoúhlá obrazovka</PresentationFormat>
  <Paragraphs>80</Paragraphs>
  <Slides>5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10" baseType="lpstr">
      <vt:lpstr>Arial</vt:lpstr>
      <vt:lpstr>Calibri</vt:lpstr>
      <vt:lpstr>Segoe UI</vt:lpstr>
      <vt:lpstr>iHETA Motiv</vt:lpstr>
      <vt:lpstr>think-cell Slide</vt:lpstr>
      <vt:lpstr>Ekonomické dopady nízké proočkovanosti proti chřipce v ČR</vt:lpstr>
      <vt:lpstr>Proočkovanost u seniorů/rizikových osob</vt:lpstr>
      <vt:lpstr>Prezentace aplikace PowerPoint</vt:lpstr>
      <vt:lpstr>Ekonomický pohled</vt:lpstr>
      <vt:lpstr>Velké dopady na pracovní produktivitu = pracovně aktivní popula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ndelíková Michaela</dc:creator>
  <cp:lastModifiedBy>Doležal Tomáš</cp:lastModifiedBy>
  <cp:revision>226</cp:revision>
  <dcterms:created xsi:type="dcterms:W3CDTF">2017-10-25T13:16:00Z</dcterms:created>
  <dcterms:modified xsi:type="dcterms:W3CDTF">2022-09-30T13:36:08Z</dcterms:modified>
</cp:coreProperties>
</file>